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147472833" r:id="rId5"/>
  </p:sldIdLst>
  <p:sldSz cx="9144000" cy="6858000" type="screen4x3"/>
  <p:notesSz cx="6735763" cy="9866313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47" userDrawn="1">
          <p15:clr>
            <a:srgbClr val="A4A3A4"/>
          </p15:clr>
        </p15:guide>
        <p15:guide id="2" pos="374">
          <p15:clr>
            <a:srgbClr val="A4A3A4"/>
          </p15:clr>
        </p15:guide>
        <p15:guide id="3" orient="horz" pos="4319">
          <p15:clr>
            <a:srgbClr val="A4A3A4"/>
          </p15:clr>
        </p15:guide>
        <p15:guide id="4" pos="28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E0FB"/>
    <a:srgbClr val="91B0FF"/>
    <a:srgbClr val="959595"/>
    <a:srgbClr val="F8CBAD"/>
    <a:srgbClr val="70AD47"/>
    <a:srgbClr val="C6C6C6"/>
    <a:srgbClr val="5B9BD5"/>
    <a:srgbClr val="93B5D4"/>
    <a:srgbClr val="4472C4"/>
    <a:srgbClr val="ED7D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118" autoAdjust="0"/>
  </p:normalViewPr>
  <p:slideViewPr>
    <p:cSldViewPr snapToGrid="0">
      <p:cViewPr varScale="1">
        <p:scale>
          <a:sx n="115" d="100"/>
          <a:sy n="115" d="100"/>
        </p:scale>
        <p:origin x="1416" y="96"/>
      </p:cViewPr>
      <p:guideLst>
        <p:guide orient="horz" pos="4247"/>
        <p:guide pos="374"/>
        <p:guide orient="horz" pos="4319"/>
        <p:guide pos="2876"/>
      </p:guideLst>
    </p:cSldViewPr>
  </p:slideViewPr>
  <p:outlineViewPr>
    <p:cViewPr>
      <p:scale>
        <a:sx n="33" d="100"/>
        <a:sy n="33" d="100"/>
      </p:scale>
      <p:origin x="0" y="-792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250" y="4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6250" y="617538"/>
            <a:ext cx="5789613" cy="4343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67764" y="5301563"/>
            <a:ext cx="580658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87017" y="9487907"/>
            <a:ext cx="187330" cy="18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74280" y="109318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22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5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476250" y="5387809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476250" y="2589084"/>
            <a:ext cx="5972175" cy="584775"/>
          </a:xfrm>
          <a:prstGeom prst="rect">
            <a:avLst/>
          </a:prstGeom>
        </p:spPr>
        <p:txBody>
          <a:bodyPr vert="horz" wrap="square" lIns="0" rIns="0">
            <a:spAutoFit/>
          </a:bodyPr>
          <a:lstStyle>
            <a:lvl1pPr algn="l">
              <a:defRPr sz="3200" b="1" cap="none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lang="en-US" noProof="0" dirty="0"/>
              <a:t>Click to edit Master title 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476250" y="3911502"/>
            <a:ext cx="5972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defRPr sz="1600" baseline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lang="en-US" noProof="0" dirty="0"/>
              <a:t>YYYY / MM / DD || Meeting title || Division / Name</a:t>
            </a:r>
          </a:p>
        </p:txBody>
      </p:sp>
      <p:pic>
        <p:nvPicPr>
          <p:cNvPr id="11" name="図 2" descr="logo.gi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7754" y="2714444"/>
            <a:ext cx="1309687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A8DC59AC-098B-4D38-9CC9-63F4D01AD0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1717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6" name="think-cell スライド" r:id="rId4" imgW="530" imgH="531" progId="TCLayout.ActiveDocument.1">
                  <p:embed/>
                </p:oleObj>
              </mc:Choice>
              <mc:Fallback>
                <p:oleObj name="think-cell スライド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0682" y="267551"/>
            <a:ext cx="8205787" cy="307777"/>
          </a:xfrm>
          <a:prstGeom prst="rect">
            <a:avLst/>
          </a:prstGeom>
        </p:spPr>
        <p:txBody>
          <a:bodyPr vert="horz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テキスト プレースホルダー 3"/>
          <p:cNvSpPr>
            <a:spLocks noGrp="1"/>
          </p:cNvSpPr>
          <p:nvPr>
            <p:ph type="body" sz="quarter" idx="10"/>
          </p:nvPr>
        </p:nvSpPr>
        <p:spPr>
          <a:xfrm>
            <a:off x="488144" y="1241413"/>
            <a:ext cx="2528121" cy="10772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pic>
        <p:nvPicPr>
          <p:cNvPr id="4" name="図 2" descr="logo.gif">
            <a:extLst>
              <a:ext uri="{FF2B5EF4-FFF2-40B4-BE49-F238E27FC236}">
                <a16:creationId xmlns:a16="http://schemas.microsoft.com/office/drawing/2014/main" id="{2DA22326-A1F1-4A9E-A634-5BA6C1CA68D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615" y="157950"/>
            <a:ext cx="515216" cy="624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図 3" descr="cw.gif">
            <a:extLst>
              <a:ext uri="{FF2B5EF4-FFF2-40B4-BE49-F238E27FC236}">
                <a16:creationId xmlns:a16="http://schemas.microsoft.com/office/drawing/2014/main" id="{202ACA8D-31C1-419E-97B8-7D2DDE250C8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17" y="6683867"/>
            <a:ext cx="1854200" cy="8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スライド番号プレースホルダー 17">
            <a:extLst>
              <a:ext uri="{FF2B5EF4-FFF2-40B4-BE49-F238E27FC236}">
                <a16:creationId xmlns:a16="http://schemas.microsoft.com/office/drawing/2014/main" id="{A4D260D9-921A-4022-91AD-024F703F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5483" y="6356350"/>
            <a:ext cx="449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011BA6-04AF-4B81-9468-063647B3E1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7107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A8DC59AC-098B-4D38-9CC9-63F4D01AD0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8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0" name="think-cell スライド" r:id="rId4" imgW="530" imgH="531" progId="TCLayout.ActiveDocument.1">
                  <p:embed/>
                </p:oleObj>
              </mc:Choice>
              <mc:Fallback>
                <p:oleObj name="think-cell スライド" r:id="rId4" imgW="530" imgH="53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A8DC59AC-098B-4D38-9CC9-63F4D01AD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0682" y="267551"/>
            <a:ext cx="8205787" cy="307777"/>
          </a:xfrm>
          <a:prstGeom prst="rect">
            <a:avLst/>
          </a:prstGeom>
        </p:spPr>
        <p:txBody>
          <a:bodyPr vert="horz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テキスト プレースホルダー 3"/>
          <p:cNvSpPr>
            <a:spLocks noGrp="1"/>
          </p:cNvSpPr>
          <p:nvPr>
            <p:ph type="body" sz="quarter" idx="10"/>
          </p:nvPr>
        </p:nvSpPr>
        <p:spPr>
          <a:xfrm>
            <a:off x="488144" y="1241413"/>
            <a:ext cx="2528121" cy="10772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pic>
        <p:nvPicPr>
          <p:cNvPr id="5" name="図 3" descr="cw.gif">
            <a:extLst>
              <a:ext uri="{FF2B5EF4-FFF2-40B4-BE49-F238E27FC236}">
                <a16:creationId xmlns:a16="http://schemas.microsoft.com/office/drawing/2014/main" id="{202ACA8D-31C1-419E-97B8-7D2DDE250C8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17" y="6683867"/>
            <a:ext cx="1854200" cy="8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スライド番号プレースホルダー 17">
            <a:extLst>
              <a:ext uri="{FF2B5EF4-FFF2-40B4-BE49-F238E27FC236}">
                <a16:creationId xmlns:a16="http://schemas.microsoft.com/office/drawing/2014/main" id="{A4D260D9-921A-4022-91AD-024F703F76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47369" y="6356350"/>
            <a:ext cx="449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011BA6-04AF-4B81-9468-063647B3E12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  <p:pic>
        <p:nvPicPr>
          <p:cNvPr id="8" name="図 2" descr="logo.gif">
            <a:extLst>
              <a:ext uri="{FF2B5EF4-FFF2-40B4-BE49-F238E27FC236}">
                <a16:creationId xmlns:a16="http://schemas.microsoft.com/office/drawing/2014/main" id="{EAA372B5-012A-4881-AF24-EB9ABFC3B1C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411" y="6035784"/>
            <a:ext cx="566737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21715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72C3097A-106E-4482-9A3F-5DC0DD6D75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9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8" name="think-cell スライド" r:id="rId4" imgW="530" imgH="531" progId="TCLayout.ActiveDocument.1">
                  <p:embed/>
                </p:oleObj>
              </mc:Choice>
              <mc:Fallback>
                <p:oleObj name="think-cell スライド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0683" y="533882"/>
            <a:ext cx="8903519" cy="307777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>
              <a:defRPr lang="ja-JP" altLang="en-US"/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3"/>
          <p:cNvSpPr>
            <a:spLocks noGrp="1"/>
          </p:cNvSpPr>
          <p:nvPr>
            <p:ph type="body" sz="quarter" idx="10"/>
          </p:nvPr>
        </p:nvSpPr>
        <p:spPr>
          <a:xfrm>
            <a:off x="488144" y="1241414"/>
            <a:ext cx="2528121" cy="107721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ja-JP" altLang="en-US" smtClean="0"/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 dirty="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6C2D64C1-A3FE-40DC-AB74-E1E512602B72}"/>
              </a:ext>
            </a:extLst>
          </p:cNvPr>
          <p:cNvGrpSpPr/>
          <p:nvPr userDrawn="1"/>
        </p:nvGrpSpPr>
        <p:grpSpPr>
          <a:xfrm>
            <a:off x="80683" y="68034"/>
            <a:ext cx="9212422" cy="404813"/>
            <a:chOff x="80683" y="334365"/>
            <a:chExt cx="9212422" cy="404813"/>
          </a:xfrm>
        </p:grpSpPr>
        <p:pic>
          <p:nvPicPr>
            <p:cNvPr id="7" name="図 3">
              <a:extLst>
                <a:ext uri="{FF2B5EF4-FFF2-40B4-BE49-F238E27FC236}">
                  <a16:creationId xmlns:a16="http://schemas.microsoft.com/office/drawing/2014/main" id="{7FFD6BC9-2C9D-42EB-8C6A-D33E22C778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435" b="40894"/>
            <a:stretch>
              <a:fillRect/>
            </a:stretch>
          </p:blipFill>
          <p:spPr bwMode="auto">
            <a:xfrm>
              <a:off x="6522918" y="334365"/>
              <a:ext cx="2770187" cy="404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" name="直線コネクタ 7">
              <a:extLst>
                <a:ext uri="{FF2B5EF4-FFF2-40B4-BE49-F238E27FC236}">
                  <a16:creationId xmlns:a16="http://schemas.microsoft.com/office/drawing/2014/main" id="{D221755F-11E9-44A2-94AE-5EE79AEC02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0683" y="721715"/>
              <a:ext cx="8903519" cy="0"/>
            </a:xfrm>
            <a:prstGeom prst="line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図 2" descr="logo.gif">
            <a:extLst>
              <a:ext uri="{FF2B5EF4-FFF2-40B4-BE49-F238E27FC236}">
                <a16:creationId xmlns:a16="http://schemas.microsoft.com/office/drawing/2014/main" id="{89A2432C-9FC1-4E02-8EB0-61DC7D7B4C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411" y="6035784"/>
            <a:ext cx="566737" cy="68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スライド番号プレースホルダー 17">
            <a:extLst>
              <a:ext uri="{FF2B5EF4-FFF2-40B4-BE49-F238E27FC236}">
                <a16:creationId xmlns:a16="http://schemas.microsoft.com/office/drawing/2014/main" id="{A328E99C-41A0-4AF3-96B9-39BD2B7DC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47369" y="6356350"/>
            <a:ext cx="449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011BA6-04AF-4B81-9468-063647B3E127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86608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tter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435" b="40894"/>
          <a:stretch>
            <a:fillRect/>
          </a:stretch>
        </p:blipFill>
        <p:spPr bwMode="auto">
          <a:xfrm>
            <a:off x="6434138" y="130175"/>
            <a:ext cx="2770187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直線コネクタ 3"/>
          <p:cNvCxnSpPr/>
          <p:nvPr userDrawn="1"/>
        </p:nvCxnSpPr>
        <p:spPr>
          <a:xfrm>
            <a:off x="280988" y="517525"/>
            <a:ext cx="8580437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テキスト プレースホルダー 10"/>
          <p:cNvSpPr>
            <a:spLocks noGrp="1"/>
          </p:cNvSpPr>
          <p:nvPr>
            <p:ph type="body" sz="quarter" idx="12"/>
          </p:nvPr>
        </p:nvSpPr>
        <p:spPr>
          <a:xfrm>
            <a:off x="107950" y="569542"/>
            <a:ext cx="8859600" cy="673331"/>
          </a:xfrm>
          <a:prstGeom prst="rect">
            <a:avLst/>
          </a:prstGeom>
        </p:spPr>
        <p:txBody>
          <a:bodyPr vert="horz" lIns="90000" tIns="46800" rIns="90000" bIns="46800" spcCol="0" anchor="t" anchorCtr="0"/>
          <a:lstStyle>
            <a:lvl1pPr marL="284400" indent="-284400">
              <a:lnSpc>
                <a:spcPct val="100000"/>
              </a:lnSpc>
              <a:spcBef>
                <a:spcPts val="24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baseline="0">
                <a:solidFill>
                  <a:srgbClr val="002060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  <a:endParaRPr lang="en-US" altLang="ja-JP"/>
          </a:p>
          <a:p>
            <a:pPr lvl="0"/>
            <a:endParaRPr lang="en-US" altLang="ja-JP"/>
          </a:p>
          <a:p>
            <a:pPr lvl="0"/>
            <a:endParaRPr lang="en-US" altLang="ja-JP"/>
          </a:p>
          <a:p>
            <a:pPr lvl="0"/>
            <a:endParaRPr lang="en-US" altLang="ja-JP"/>
          </a:p>
          <a:p>
            <a:pPr lvl="0"/>
            <a:endParaRPr lang="en-US" altLang="ja-JP"/>
          </a:p>
        </p:txBody>
      </p:sp>
      <p:sp>
        <p:nvSpPr>
          <p:cNvPr id="8" name="スライド番号プレースホルダー 4"/>
          <p:cNvSpPr>
            <a:spLocks noGrp="1"/>
          </p:cNvSpPr>
          <p:nvPr>
            <p:ph type="sldNum" sz="quarter" idx="13"/>
          </p:nvPr>
        </p:nvSpPr>
        <p:spPr>
          <a:xfrm>
            <a:off x="8265110" y="6387746"/>
            <a:ext cx="702439" cy="365125"/>
          </a:xfrm>
          <a:prstGeom prst="rect">
            <a:avLst/>
          </a:prstGeom>
        </p:spPr>
        <p:txBody>
          <a:bodyPr anchor="b" anchorCtr="1"/>
          <a:lstStyle>
            <a:lvl1pPr algn="r">
              <a:defRPr sz="10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D027513-AA81-442E-9BAD-DFBBC1217694}" type="slidenum">
              <a:rPr lang="ja-JP" altLang="en-US" smtClean="0"/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ja-JP" altLang="en-US"/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4"/>
          </p:nvPr>
        </p:nvSpPr>
        <p:spPr>
          <a:xfrm>
            <a:off x="94718" y="56523"/>
            <a:ext cx="7740000" cy="468000"/>
          </a:xfrm>
          <a:prstGeom prst="rect">
            <a:avLst/>
          </a:prstGeom>
        </p:spPr>
        <p:txBody>
          <a:bodyPr vert="horz" lIns="90000" tIns="46800" rIns="90000" bIns="46800" spcCol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92080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7166419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67" name="think-cell スライド" r:id="rId24" imgW="270" imgH="270" progId="TCLayout.ActiveDocument.1">
                  <p:embed/>
                </p:oleObj>
              </mc:Choice>
              <mc:Fallback>
                <p:oleObj name="think-cell スライド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2517" y="17819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2517" y="54951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783367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263367" y="311940"/>
            <a:ext cx="703263" cy="996951"/>
            <a:chOff x="4936" y="176"/>
            <a:chExt cx="443" cy="628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955392" y="311940"/>
            <a:ext cx="1011238" cy="730251"/>
            <a:chOff x="4750" y="176"/>
            <a:chExt cx="637" cy="460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8081965" y="311940"/>
            <a:ext cx="884665" cy="212366"/>
            <a:chOff x="7856110" y="285750"/>
            <a:chExt cx="884665" cy="212366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 userDrawn="1"/>
        </p:nvGrpSpPr>
        <p:grpSpPr bwMode="auto">
          <a:xfrm>
            <a:off x="172518" y="6253704"/>
            <a:ext cx="7631633" cy="353067"/>
            <a:chOff x="172518" y="6253704"/>
            <a:chExt cx="7631633" cy="353067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19" y="6253704"/>
              <a:ext cx="763163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3" indent="-93663"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172518" y="6452883"/>
              <a:ext cx="763163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17513" indent="-417513" defTabSz="895350">
                <a:tabLst>
                  <a:tab pos="419100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60" name="LegendMoons" hidden="1"/>
          <p:cNvGrpSpPr/>
          <p:nvPr/>
        </p:nvGrpSpPr>
        <p:grpSpPr bwMode="auto">
          <a:xfrm>
            <a:off x="8196793" y="311940"/>
            <a:ext cx="769837" cy="1306516"/>
            <a:chOff x="5428012" y="273840"/>
            <a:chExt cx="769837" cy="1306516"/>
          </a:xfrm>
        </p:grpSpPr>
        <p:sp>
          <p:nvSpPr>
            <p:cNvPr id="61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2" name="MoonLegend1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2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8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3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0" name="MoonLegend4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81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sp>
        <p:nvSpPr>
          <p:cNvPr id="18" name="スライド番号プレースホルダー 17">
            <a:extLst>
              <a:ext uri="{FF2B5EF4-FFF2-40B4-BE49-F238E27FC236}">
                <a16:creationId xmlns:a16="http://schemas.microsoft.com/office/drawing/2014/main" id="{71C8440E-70C7-40D0-95E5-CEA256857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5483" y="6356350"/>
            <a:ext cx="449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011BA6-04AF-4B81-9468-063647B3E1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7" r:id="rId2"/>
    <p:sldLayoutId id="2147483679" r:id="rId3"/>
    <p:sldLayoutId id="2147483678" r:id="rId4"/>
    <p:sldLayoutId id="2147483680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kumimoji="1" lang="ja-JP" altLang="en-US" sz="2000" b="1" baseline="0" dirty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kumimoji="1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400" baseline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kumimoji="1" sz="1400" baseline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400" baseline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kumimoji="1" sz="1400" baseline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 baseline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325EFAFE-E597-459F-BE3B-744D205D159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D027513-AA81-442E-9BAD-DFBBC1217694}" type="slidenum">
              <a:rPr lang="ja-JP" altLang="en-US" smtClean="0"/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BD8912E1-381D-4275-8D55-66AE9885F3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kumimoji="1" lang="en-US" altLang="ja-JP" dirty="0"/>
              <a:t>2022</a:t>
            </a:r>
            <a:r>
              <a:rPr kumimoji="1" lang="ja-JP" altLang="en-US" dirty="0"/>
              <a:t>年</a:t>
            </a:r>
            <a:r>
              <a:rPr kumimoji="1" lang="en-US" altLang="ja-JP" dirty="0"/>
              <a:t>7</a:t>
            </a:r>
            <a:r>
              <a:rPr kumimoji="1" lang="ja-JP" altLang="en-US" dirty="0"/>
              <a:t>月以降の東邦</a:t>
            </a:r>
            <a:r>
              <a:rPr kumimoji="1" lang="ja-JP" altLang="en-US" dirty="0" smtClean="0"/>
              <a:t>物産㈱の</a:t>
            </a:r>
            <a:r>
              <a:rPr kumimoji="1" lang="ja-JP" altLang="en-US" dirty="0"/>
              <a:t>体制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D66C6E1D-F3F8-4FFE-BA07-374636C77463}"/>
              </a:ext>
            </a:extLst>
          </p:cNvPr>
          <p:cNvSpPr/>
          <p:nvPr/>
        </p:nvSpPr>
        <p:spPr>
          <a:xfrm>
            <a:off x="359764" y="1219746"/>
            <a:ext cx="2743200" cy="985965"/>
          </a:xfrm>
          <a:prstGeom prst="round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三井</a:t>
            </a:r>
            <a:r>
              <a:rPr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物産㈱　食料本部</a:t>
            </a:r>
            <a:endParaRPr lang="en-US" altLang="ja-JP" sz="14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4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畜水産事業部</a:t>
            </a:r>
            <a:endParaRPr kumimoji="1" lang="ja-JP" altLang="en-US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1CD0120-7106-406D-A7A1-476714973E31}"/>
              </a:ext>
            </a:extLst>
          </p:cNvPr>
          <p:cNvSpPr/>
          <p:nvPr/>
        </p:nvSpPr>
        <p:spPr>
          <a:xfrm>
            <a:off x="359764" y="2879995"/>
            <a:ext cx="2718682" cy="1638291"/>
          </a:xfrm>
          <a:prstGeom prst="round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tIns="36000" rIns="0" bIns="36000" rtlCol="0" anchor="ctr"/>
          <a:lstStyle/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東邦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物産㈱</a:t>
            </a:r>
            <a:endParaRPr kumimoji="1" lang="en-US" altLang="ja-JP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endParaRPr lang="en-US" altLang="ja-JP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0EAD013F-FF41-44C7-838B-74EB0482470F}"/>
              </a:ext>
            </a:extLst>
          </p:cNvPr>
          <p:cNvSpPr/>
          <p:nvPr/>
        </p:nvSpPr>
        <p:spPr>
          <a:xfrm>
            <a:off x="719529" y="3659324"/>
            <a:ext cx="1010258" cy="422216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食糧本部</a:t>
            </a:r>
            <a:endParaRPr kumimoji="1" lang="ja-JP" altLang="en-US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2C2C96C1-FA40-4FD8-AAD4-B993E2EC99DE}"/>
              </a:ext>
            </a:extLst>
          </p:cNvPr>
          <p:cNvSpPr/>
          <p:nvPr/>
        </p:nvSpPr>
        <p:spPr>
          <a:xfrm>
            <a:off x="700899" y="4114036"/>
            <a:ext cx="1018206" cy="371753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2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米穀本部</a:t>
            </a:r>
            <a:endParaRPr kumimoji="1" lang="ja-JP" altLang="en-US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5A8EC3E0-1FEC-4AD9-BAD0-05725219363C}"/>
              </a:ext>
            </a:extLst>
          </p:cNvPr>
          <p:cNvSpPr/>
          <p:nvPr/>
        </p:nvSpPr>
        <p:spPr>
          <a:xfrm>
            <a:off x="1866520" y="3708556"/>
            <a:ext cx="1056562" cy="412666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生鮮本部</a:t>
            </a:r>
            <a:endParaRPr kumimoji="1" lang="ja-JP" altLang="en-US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12" name="直線矢印コネクタ 11">
            <a:extLst>
              <a:ext uri="{FF2B5EF4-FFF2-40B4-BE49-F238E27FC236}">
                <a16:creationId xmlns:a16="http://schemas.microsoft.com/office/drawing/2014/main" id="{CC2C8A5A-E238-4BA4-8C7C-2E95EC0B42CF}"/>
              </a:ext>
            </a:extLst>
          </p:cNvPr>
          <p:cNvCxnSpPr>
            <a:cxnSpLocks/>
            <a:stCxn id="5" idx="2"/>
            <a:endCxn id="7" idx="0"/>
          </p:cNvCxnSpPr>
          <p:nvPr/>
        </p:nvCxnSpPr>
        <p:spPr>
          <a:xfrm flipH="1">
            <a:off x="1719105" y="2205711"/>
            <a:ext cx="12259" cy="67428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650299E-9F16-46D3-87C5-4D86ADD6491E}"/>
              </a:ext>
            </a:extLst>
          </p:cNvPr>
          <p:cNvSpPr/>
          <p:nvPr/>
        </p:nvSpPr>
        <p:spPr>
          <a:xfrm>
            <a:off x="3654360" y="1219746"/>
            <a:ext cx="4051373" cy="939414"/>
          </a:xfrm>
          <a:prstGeom prst="round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三井</a:t>
            </a:r>
            <a:r>
              <a:rPr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物産㈱　食料本部</a:t>
            </a:r>
            <a:endParaRPr lang="en-US" altLang="ja-JP" sz="14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endParaRPr lang="en-US" altLang="ja-JP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merging Business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部　　　　畜水産事業部</a:t>
            </a:r>
            <a:endParaRPr kumimoji="1" lang="ja-JP" altLang="en-US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4" name="四角形: 角を丸くする 13">
            <a:extLst>
              <a:ext uri="{FF2B5EF4-FFF2-40B4-BE49-F238E27FC236}">
                <a16:creationId xmlns:a16="http://schemas.microsoft.com/office/drawing/2014/main" id="{75E2333F-CD5A-44DA-93F4-F1A6EBCC8EE9}"/>
              </a:ext>
            </a:extLst>
          </p:cNvPr>
          <p:cNvSpPr/>
          <p:nvPr/>
        </p:nvSpPr>
        <p:spPr>
          <a:xfrm>
            <a:off x="3638120" y="2883236"/>
            <a:ext cx="1994022" cy="1602554"/>
          </a:xfrm>
          <a:prstGeom prst="round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三井</a:t>
            </a:r>
            <a:r>
              <a:rPr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物産アグリフーズ㈱</a:t>
            </a:r>
            <a:endParaRPr lang="en-US" altLang="ja-JP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0E75664B-BB5E-4401-983E-2908B6349BB2}"/>
              </a:ext>
            </a:extLst>
          </p:cNvPr>
          <p:cNvSpPr/>
          <p:nvPr/>
        </p:nvSpPr>
        <p:spPr>
          <a:xfrm>
            <a:off x="3980075" y="3767232"/>
            <a:ext cx="1092393" cy="314308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食糧事業</a:t>
            </a:r>
            <a:endParaRPr kumimoji="1" lang="ja-JP" altLang="en-US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E9496643-765B-4193-A05E-FE485116D340}"/>
              </a:ext>
            </a:extLst>
          </p:cNvPr>
          <p:cNvSpPr/>
          <p:nvPr/>
        </p:nvSpPr>
        <p:spPr>
          <a:xfrm>
            <a:off x="3984346" y="4114037"/>
            <a:ext cx="1088122" cy="329048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米穀事業</a:t>
            </a:r>
            <a:endParaRPr kumimoji="1" lang="ja-JP" altLang="en-US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2ADEF154-5F54-4129-861D-BED470EF68D5}"/>
              </a:ext>
            </a:extLst>
          </p:cNvPr>
          <p:cNvSpPr/>
          <p:nvPr/>
        </p:nvSpPr>
        <p:spPr>
          <a:xfrm>
            <a:off x="5768875" y="2879996"/>
            <a:ext cx="2008747" cy="1605794"/>
          </a:xfrm>
          <a:prstGeom prst="round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36000" tIns="36000" rIns="0" bIns="36000" rtlCol="0" anchor="ctr"/>
          <a:lstStyle/>
          <a:p>
            <a:pPr algn="ctr"/>
            <a:r>
              <a:rPr kumimoji="1"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三井</a:t>
            </a:r>
            <a:r>
              <a:rPr kumimoji="1" lang="ja-JP" altLang="en-US" sz="1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物産シーフーズ㈱</a:t>
            </a:r>
            <a:endParaRPr lang="en-US" altLang="ja-JP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" name="四角形: 角を丸くする 16">
            <a:extLst>
              <a:ext uri="{FF2B5EF4-FFF2-40B4-BE49-F238E27FC236}">
                <a16:creationId xmlns:a16="http://schemas.microsoft.com/office/drawing/2014/main" id="{2C1259D4-64C8-4127-9192-1A000DD175B9}"/>
              </a:ext>
            </a:extLst>
          </p:cNvPr>
          <p:cNvSpPr/>
          <p:nvPr/>
        </p:nvSpPr>
        <p:spPr>
          <a:xfrm>
            <a:off x="5974097" y="3767273"/>
            <a:ext cx="1271217" cy="466873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ctr"/>
          <a:lstStyle/>
          <a:p>
            <a:pPr algn="ctr"/>
            <a:r>
              <a:rPr lang="ja-JP" altLang="en-US" sz="1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生鮮事業</a:t>
            </a:r>
            <a:endParaRPr kumimoji="1" lang="ja-JP" altLang="en-US" sz="1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14EBDEF6-7BE2-44DD-9E81-DCFA8E64F90F}"/>
              </a:ext>
            </a:extLst>
          </p:cNvPr>
          <p:cNvSpPr txBox="1"/>
          <p:nvPr/>
        </p:nvSpPr>
        <p:spPr>
          <a:xfrm>
            <a:off x="1857834" y="2318715"/>
            <a:ext cx="408915" cy="26919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en-US" altLang="ja-JP" sz="1200" baseline="0" dirty="0"/>
              <a:t>100%</a:t>
            </a:r>
            <a:endParaRPr kumimoji="1" lang="ja-JP" altLang="en-US" sz="1200" baseline="0" dirty="0"/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FEEB8818-4CD6-40ED-A7BF-E3548DC55EB0}"/>
              </a:ext>
            </a:extLst>
          </p:cNvPr>
          <p:cNvSpPr txBox="1"/>
          <p:nvPr/>
        </p:nvSpPr>
        <p:spPr>
          <a:xfrm>
            <a:off x="4641356" y="2337098"/>
            <a:ext cx="408915" cy="26919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en-US" altLang="ja-JP" sz="1200" baseline="0" dirty="0"/>
              <a:t>100%</a:t>
            </a:r>
            <a:endParaRPr kumimoji="1" lang="ja-JP" altLang="en-US" sz="1200" baseline="0" dirty="0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17428FB5-8C10-4145-B388-4353101F062A}"/>
              </a:ext>
            </a:extLst>
          </p:cNvPr>
          <p:cNvSpPr txBox="1"/>
          <p:nvPr/>
        </p:nvSpPr>
        <p:spPr>
          <a:xfrm>
            <a:off x="5836078" y="4485790"/>
            <a:ext cx="1869656" cy="58159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kumimoji="1" lang="ja-JP" altLang="en-US" sz="1200" baseline="0" dirty="0"/>
              <a:t>生鮮事業を分割し、</a:t>
            </a:r>
            <a:r>
              <a:rPr kumimoji="1" lang="en-US" altLang="ja-JP" sz="1200" baseline="0" dirty="0"/>
              <a:t>2022</a:t>
            </a:r>
            <a:r>
              <a:rPr kumimoji="1" lang="ja-JP" altLang="en-US" sz="1200" baseline="0" dirty="0"/>
              <a:t>年</a:t>
            </a:r>
            <a:r>
              <a:rPr kumimoji="1" lang="en-US" altLang="ja-JP" sz="1200" baseline="0" dirty="0"/>
              <a:t>7</a:t>
            </a:r>
            <a:r>
              <a:rPr kumimoji="1" lang="ja-JP" altLang="en-US" sz="1200" baseline="0" dirty="0"/>
              <a:t>月</a:t>
            </a:r>
            <a:r>
              <a:rPr kumimoji="1" lang="en-US" altLang="ja-JP" sz="1200" baseline="0" dirty="0"/>
              <a:t>1</a:t>
            </a:r>
            <a:r>
              <a:rPr kumimoji="1" lang="ja-JP" altLang="en-US" sz="1200" baseline="0" dirty="0"/>
              <a:t>日に新会社として設立</a:t>
            </a: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56AB3FD0-B03F-457F-8410-FAB1A0D0243F}"/>
              </a:ext>
            </a:extLst>
          </p:cNvPr>
          <p:cNvSpPr txBox="1"/>
          <p:nvPr/>
        </p:nvSpPr>
        <p:spPr>
          <a:xfrm>
            <a:off x="3619413" y="4518287"/>
            <a:ext cx="1754738" cy="55710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ja-JP" altLang="en-US" sz="1200" dirty="0"/>
              <a:t>東邦物産より</a:t>
            </a:r>
            <a:r>
              <a:rPr lang="en-US" altLang="ja-JP" sz="1200" dirty="0"/>
              <a:t>23</a:t>
            </a:r>
            <a:r>
              <a:rPr lang="ja-JP" altLang="en-US" sz="1200" dirty="0"/>
              <a:t>年</a:t>
            </a:r>
            <a:r>
              <a:rPr lang="en-US" altLang="ja-JP" sz="1200" dirty="0"/>
              <a:t>3</a:t>
            </a:r>
            <a:r>
              <a:rPr lang="ja-JP" altLang="en-US" sz="1200" dirty="0"/>
              <a:t>月期中に社名変更</a:t>
            </a:r>
            <a:endParaRPr kumimoji="1" lang="ja-JP" altLang="en-US" sz="1200" baseline="0" dirty="0"/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663AC183-803E-48F7-AD07-FBD05C35A786}"/>
              </a:ext>
            </a:extLst>
          </p:cNvPr>
          <p:cNvSpPr txBox="1"/>
          <p:nvPr/>
        </p:nvSpPr>
        <p:spPr>
          <a:xfrm>
            <a:off x="559583" y="805604"/>
            <a:ext cx="408915" cy="26919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ja-JP" altLang="en-US" sz="1600" u="sng" baseline="0" dirty="0"/>
              <a:t>現状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D793BDDD-08EA-46D3-A96F-4ECCB1CFE9A1}"/>
              </a:ext>
            </a:extLst>
          </p:cNvPr>
          <p:cNvSpPr txBox="1"/>
          <p:nvPr/>
        </p:nvSpPr>
        <p:spPr>
          <a:xfrm>
            <a:off x="3654360" y="917243"/>
            <a:ext cx="1719791" cy="15341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en-US" altLang="ja-JP" sz="1600" u="sng" baseline="0" dirty="0" smtClean="0"/>
              <a:t>2022</a:t>
            </a:r>
            <a:r>
              <a:rPr kumimoji="1" lang="ja-JP" altLang="en-US" u="sng" dirty="0"/>
              <a:t>年</a:t>
            </a:r>
            <a:r>
              <a:rPr kumimoji="1" lang="en-US" altLang="ja-JP" sz="1600" u="sng" baseline="0" dirty="0" smtClean="0"/>
              <a:t>7</a:t>
            </a:r>
            <a:r>
              <a:rPr kumimoji="1" lang="ja-JP" altLang="en-US" sz="1600" u="sng" baseline="0" dirty="0"/>
              <a:t>月</a:t>
            </a:r>
            <a:r>
              <a:rPr kumimoji="1" lang="en-US" altLang="ja-JP" sz="1600" u="sng" baseline="0" dirty="0"/>
              <a:t>1</a:t>
            </a:r>
            <a:r>
              <a:rPr kumimoji="1" lang="ja-JP" altLang="en-US" sz="1600" u="sng" baseline="0" dirty="0"/>
              <a:t>日以降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A6ABBB02-3280-4445-94AF-9166A8DF51DE}"/>
              </a:ext>
            </a:extLst>
          </p:cNvPr>
          <p:cNvSpPr txBox="1"/>
          <p:nvPr/>
        </p:nvSpPr>
        <p:spPr>
          <a:xfrm>
            <a:off x="2266749" y="5468111"/>
            <a:ext cx="6531149" cy="58076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150000"/>
              </a:lnSpc>
            </a:pPr>
            <a:endParaRPr kumimoji="1" lang="ja-JP" altLang="en-US" sz="1200" baseline="0" dirty="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1C45D22-62F1-433D-B1E9-E9B0A2C7657C}"/>
              </a:ext>
            </a:extLst>
          </p:cNvPr>
          <p:cNvSpPr txBox="1"/>
          <p:nvPr/>
        </p:nvSpPr>
        <p:spPr>
          <a:xfrm>
            <a:off x="3637930" y="5049835"/>
            <a:ext cx="1978844" cy="26919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kumimoji="1" lang="ja-JP" altLang="en-US" sz="1000" baseline="0" dirty="0"/>
              <a:t>英文名：</a:t>
            </a:r>
            <a:endParaRPr kumimoji="1" lang="en-US" altLang="ja-JP" sz="1000" baseline="0" dirty="0"/>
          </a:p>
          <a:p>
            <a:r>
              <a:rPr kumimoji="1" lang="en-US" altLang="ja-JP" sz="1000" baseline="0" dirty="0"/>
              <a:t>Mitsui &amp; Co. Agri Foods Ltd.</a:t>
            </a:r>
            <a:endParaRPr kumimoji="1" lang="ja-JP" altLang="en-US" sz="1000" baseline="0" dirty="0"/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8D0772B5-CD46-41C3-9AB3-B53134863464}"/>
              </a:ext>
            </a:extLst>
          </p:cNvPr>
          <p:cNvSpPr txBox="1"/>
          <p:nvPr/>
        </p:nvSpPr>
        <p:spPr>
          <a:xfrm>
            <a:off x="5855684" y="5049835"/>
            <a:ext cx="1978844" cy="26919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kumimoji="1" lang="ja-JP" altLang="en-US" sz="1000" baseline="0" dirty="0"/>
              <a:t>英文名：</a:t>
            </a:r>
            <a:endParaRPr kumimoji="1" lang="en-US" altLang="ja-JP" sz="1000" baseline="0" dirty="0"/>
          </a:p>
          <a:p>
            <a:r>
              <a:rPr kumimoji="1" lang="en-US" altLang="ja-JP" sz="1000" baseline="0" dirty="0"/>
              <a:t>Mitsui &amp; Co. Seafoods Ltd.</a:t>
            </a:r>
            <a:endParaRPr kumimoji="1" lang="ja-JP" altLang="en-US" sz="1000" baseline="0" dirty="0"/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FEEB8818-4CD6-40ED-A7BF-E3548DC55EB0}"/>
              </a:ext>
            </a:extLst>
          </p:cNvPr>
          <p:cNvSpPr txBox="1"/>
          <p:nvPr/>
        </p:nvSpPr>
        <p:spPr>
          <a:xfrm>
            <a:off x="6959316" y="2379001"/>
            <a:ext cx="408915" cy="26919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150000"/>
              </a:lnSpc>
            </a:pPr>
            <a:r>
              <a:rPr kumimoji="1" lang="en-US" altLang="ja-JP" sz="1200" baseline="0" dirty="0"/>
              <a:t>100%</a:t>
            </a:r>
            <a:endParaRPr kumimoji="1" lang="ja-JP" altLang="en-US" sz="1200" baseline="0" dirty="0"/>
          </a:p>
        </p:txBody>
      </p:sp>
      <p:cxnSp>
        <p:nvCxnSpPr>
          <p:cNvPr id="38" name="直線矢印コネクタ 37">
            <a:extLst>
              <a:ext uri="{FF2B5EF4-FFF2-40B4-BE49-F238E27FC236}">
                <a16:creationId xmlns:a16="http://schemas.microsoft.com/office/drawing/2014/main" id="{CC2C8A5A-E238-4BA4-8C7C-2E95EC0B42CF}"/>
              </a:ext>
            </a:extLst>
          </p:cNvPr>
          <p:cNvCxnSpPr>
            <a:cxnSpLocks/>
          </p:cNvCxnSpPr>
          <p:nvPr/>
        </p:nvCxnSpPr>
        <p:spPr>
          <a:xfrm flipH="1">
            <a:off x="6832847" y="2196973"/>
            <a:ext cx="12259" cy="67428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直線矢印コネクタ 38">
            <a:extLst>
              <a:ext uri="{FF2B5EF4-FFF2-40B4-BE49-F238E27FC236}">
                <a16:creationId xmlns:a16="http://schemas.microsoft.com/office/drawing/2014/main" id="{CC2C8A5A-E238-4BA4-8C7C-2E95EC0B42CF}"/>
              </a:ext>
            </a:extLst>
          </p:cNvPr>
          <p:cNvCxnSpPr>
            <a:cxnSpLocks/>
          </p:cNvCxnSpPr>
          <p:nvPr/>
        </p:nvCxnSpPr>
        <p:spPr>
          <a:xfrm flipH="1">
            <a:off x="4543668" y="2176455"/>
            <a:ext cx="12259" cy="67428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4571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d&lt;/m_strFormatTime&gt;&lt;/m_precDefaultDay&gt;&lt;m_mruColor&gt;&lt;m_vecMRU length=&quot;6&quot;&gt;&lt;elem m_fUsage=&quot;2.45304860986931410000E+000&quot;&gt;&lt;m_msothmcolidx val=&quot;0&quot;/&gt;&lt;m_rgb r=&quot;9&quot; g=&quot;5b&quot; b=&quot;9f&quot;/&gt;&lt;m_ppcolschidx tagver0=&quot;23004&quot; tagname0=&quot;m_ppcolschidxUNRECOGNIZED&quot; val=&quot;0&quot;/&gt;&lt;m_nBrightness val=&quot;0&quot;/&gt;&lt;/elem&gt;&lt;elem m_fUsage=&quot;2.21095587962479410000E+000&quot;&gt;&lt;m_msothmcolidx val=&quot;0&quot;/&gt;&lt;m_rgb r=&quot;f7&quot; g=&quot;a6&quot; b=&quot;aa&quot;/&gt;&lt;m_ppcolschidx tagver0=&quot;23004&quot; tagname0=&quot;m_ppcolschidxUNRECOGNIZED&quot; val=&quot;0&quot;/&gt;&lt;m_nBrightness val=&quot;0&quot;/&gt;&lt;/elem&gt;&lt;elem m_fUsage=&quot;1.49465379283290020000E+000&quot;&gt;&lt;m_msothmcolidx val=&quot;0&quot;/&gt;&lt;m_rgb r=&quot;fa&quot; g=&quot;d1&quot; b=&quot;d3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c7&quot; g=&quot;f8&quot; b=&quot;fc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f9&quot; g=&quot;c6&quot; b=&quot;f9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fe&quot; g=&quot;f9&quot; b=&quot;2c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True"/>
  <p:tag name="PREVIOUSNAME" val="C:\Users\Satoshi Ishino\Documents\1. Study\Others\TK3221\Negotiation\20160127 Negotiation package最終版(Dへの共有版)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Mitsui&amp;Co_CF_TK3169">
  <a:themeElements>
    <a:clrScheme name="ユーザー定義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F497D"/>
      </a:accent1>
      <a:accent2>
        <a:srgbClr val="548DD4"/>
      </a:accent2>
      <a:accent3>
        <a:srgbClr val="8DB3E2"/>
      </a:accent3>
      <a:accent4>
        <a:srgbClr val="BFBFBF"/>
      </a:accent4>
      <a:accent5>
        <a:srgbClr val="C0504D"/>
      </a:accent5>
      <a:accent6>
        <a:srgbClr val="F79646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kumimoji="1" b="1" dirty="0" smtClean="0">
            <a:solidFill>
              <a:schemeClr val="bg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algn="l">
          <a:defRPr kumimoji="1" sz="1400" kern="0" dirty="0" smtClean="0"/>
        </a:defPPr>
      </a:lstStyle>
    </a:tx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1E1E1"/>
        </a:accent1>
        <a:accent2>
          <a:srgbClr val="959595"/>
        </a:accent2>
        <a:accent3>
          <a:srgbClr val="656565"/>
        </a:accent3>
        <a:accent4>
          <a:srgbClr val="383838"/>
        </a:accent4>
        <a:accent5>
          <a:srgbClr val="FF5F00"/>
        </a:accent5>
        <a:accent6>
          <a:srgbClr val="808080"/>
        </a:accent6>
        <a:hlink>
          <a:srgbClr val="656565"/>
        </a:hlink>
        <a:folHlink>
          <a:srgbClr val="3838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55A2C425-2814-48F5-BDD0-8FC06EEC8930}" vid="{F43294FA-B5B7-4E0F-A9AE-A3FCDD94396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B2ABC96B2E454409076E8E0E6B0E569" ma:contentTypeVersion="8" ma:contentTypeDescription="新しいドキュメントを作成します。" ma:contentTypeScope="" ma:versionID="0655d481ae10559eb0dd67b20a363b9e">
  <xsd:schema xmlns:xsd="http://www.w3.org/2001/XMLSchema" xmlns:xs="http://www.w3.org/2001/XMLSchema" xmlns:p="http://schemas.microsoft.com/office/2006/metadata/properties" xmlns:ns2="9586a568-0050-4f7a-bba2-ad01c4b0e80d" xmlns:ns3="8922a8d3-627b-42b4-95df-911ad5d4f830" targetNamespace="http://schemas.microsoft.com/office/2006/metadata/properties" ma:root="true" ma:fieldsID="1b849b9f6fa82290b0757e80189c0d18" ns2:_="" ns3:_="">
    <xsd:import namespace="9586a568-0050-4f7a-bba2-ad01c4b0e80d"/>
    <xsd:import namespace="8922a8d3-627b-42b4-95df-911ad5d4f8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86a568-0050-4f7a-bba2-ad01c4b0e8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22a8d3-627b-42b4-95df-911ad5d4f83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407EE17-0529-4483-9445-815476A3AA1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AF383B-A79F-45A0-9E92-9415EB9373C2}">
  <ds:schemaRefs>
    <ds:schemaRef ds:uri="http://purl.org/dc/dcmitype/"/>
    <ds:schemaRef ds:uri="http://schemas.microsoft.com/office/infopath/2007/PartnerControls"/>
    <ds:schemaRef ds:uri="9586a568-0050-4f7a-bba2-ad01c4b0e80d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8922a8d3-627b-42b4-95df-911ad5d4f830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E9DFE50-722C-4B4E-8324-6269453151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86a568-0050-4f7a-bba2-ad01c4b0e80d"/>
    <ds:schemaRef ds:uri="8922a8d3-627b-42b4-95df-911ad5d4f8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9</Words>
  <Application>Microsoft Office PowerPoint</Application>
  <PresentationFormat>画面に合わせる (4:3)</PresentationFormat>
  <Paragraphs>28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メイリオ</vt:lpstr>
      <vt:lpstr>Arial</vt:lpstr>
      <vt:lpstr>Calibri</vt:lpstr>
      <vt:lpstr>Verdana</vt:lpstr>
      <vt:lpstr>Mitsui&amp;Co_CF_TK3169</vt:lpstr>
      <vt:lpstr>think-cell スライド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Nitta,MineyukiTKPGZ</dc:creator>
  <cp:lastModifiedBy>001 井上裕規</cp:lastModifiedBy>
  <cp:revision>8</cp:revision>
  <cp:lastPrinted>2019-09-26T06:41:33Z</cp:lastPrinted>
  <dcterms:created xsi:type="dcterms:W3CDTF">2022-01-06T07:56:30Z</dcterms:created>
  <dcterms:modified xsi:type="dcterms:W3CDTF">2022-02-02T08:4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10/8/2015 2:59:55 PM</vt:lpwstr>
  </property>
  <property fmtid="{D5CDD505-2E9C-101B-9397-08002B2CF9AE}" pid="12" name="Office2010WasSaved">
    <vt:lpwstr>1</vt:lpwstr>
  </property>
  <property fmtid="{D5CDD505-2E9C-101B-9397-08002B2CF9AE}" pid="13" name="ContentTypeId">
    <vt:lpwstr>0x010100FB2ABC96B2E454409076E8E0E6B0E569</vt:lpwstr>
  </property>
</Properties>
</file>